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</p:sldMasterIdLst>
  <p:notesMasterIdLst>
    <p:notesMasterId r:id="rId17"/>
  </p:notesMasterIdLst>
  <p:sldIdLst>
    <p:sldId id="277" r:id="rId2"/>
    <p:sldId id="287" r:id="rId3"/>
    <p:sldId id="274" r:id="rId4"/>
    <p:sldId id="278" r:id="rId5"/>
    <p:sldId id="279" r:id="rId6"/>
    <p:sldId id="280" r:id="rId7"/>
    <p:sldId id="281" r:id="rId8"/>
    <p:sldId id="282" r:id="rId9"/>
    <p:sldId id="284" r:id="rId10"/>
    <p:sldId id="285" r:id="rId11"/>
    <p:sldId id="286" r:id="rId12"/>
    <p:sldId id="288" r:id="rId13"/>
    <p:sldId id="290" r:id="rId14"/>
    <p:sldId id="289" r:id="rId15"/>
    <p:sldId id="26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360A6F1-2E52-4E71-8D20-3B52061C0D7F}">
          <p14:sldIdLst>
            <p14:sldId id="277"/>
            <p14:sldId id="287"/>
            <p14:sldId id="274"/>
            <p14:sldId id="278"/>
            <p14:sldId id="279"/>
            <p14:sldId id="280"/>
            <p14:sldId id="281"/>
            <p14:sldId id="282"/>
            <p14:sldId id="284"/>
            <p14:sldId id="285"/>
            <p14:sldId id="286"/>
            <p14:sldId id="288"/>
            <p14:sldId id="290"/>
            <p14:sldId id="289"/>
          </p14:sldIdLst>
        </p14:section>
        <p14:section name="Untitled Section" id="{61D8E25D-C024-4074-8233-3784BD32DDD4}">
          <p14:sldIdLst>
            <p14:sldId id="2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81" d="100"/>
          <a:sy n="81" d="100"/>
        </p:scale>
        <p:origin x="90" y="6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9ED9FA-CD92-44C1-9257-83E6A60456C6}" type="datetimeFigureOut">
              <a:rPr lang="en-IN" smtClean="0"/>
              <a:t>28-02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B56E86-9165-43F5-9C6D-F235B9A867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891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18.png"/><Relationship Id="rId2" Type="http://schemas.openxmlformats.org/officeDocument/2006/relationships/image" Target="../media/image5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3.png"/><Relationship Id="rId5" Type="http://schemas.openxmlformats.org/officeDocument/2006/relationships/image" Target="../media/image10.png"/><Relationship Id="rId15" Type="http://schemas.openxmlformats.org/officeDocument/2006/relationships/image" Target="../media/image16.png"/><Relationship Id="rId10" Type="http://schemas.openxmlformats.org/officeDocument/2006/relationships/hyperlink" Target="https://www.linkedin.com/company/changepond" TargetMode="External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330" y="477080"/>
            <a:ext cx="7131327" cy="5181600"/>
          </a:xfrm>
          <a:prstGeom prst="rect">
            <a:avLst/>
          </a:prstGeom>
        </p:spPr>
      </p:pic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05794" y="6448152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224" y="0"/>
            <a:ext cx="5781229" cy="4327663"/>
          </a:xfrm>
          <a:prstGeom prst="rect">
            <a:avLst/>
          </a:prstGeom>
        </p:spPr>
      </p:pic>
      <p:sp>
        <p:nvSpPr>
          <p:cNvPr id="12" name="Retângulo 37">
            <a:extLst>
              <a:ext uri="{FF2B5EF4-FFF2-40B4-BE49-F238E27FC236}">
                <a16:creationId xmlns:a16="http://schemas.microsoft.com/office/drawing/2014/main" xmlns="" id="{16A31662-FB7B-4804-8C49-DCD9CFAAF8FE}"/>
              </a:ext>
            </a:extLst>
          </p:cNvPr>
          <p:cNvSpPr/>
          <p:nvPr/>
        </p:nvSpPr>
        <p:spPr>
          <a:xfrm>
            <a:off x="105510" y="6350633"/>
            <a:ext cx="453682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600" b="1" kern="0" dirty="0">
                <a:solidFill>
                  <a:prstClr val="white"/>
                </a:solidFill>
                <a:cs typeface="Calibri" panose="020F0502020204030204" pitchFamily="34" charset="0"/>
              </a:rPr>
              <a:t>Agile | Make Digital Real | Smart Automate</a:t>
            </a:r>
            <a:endParaRPr lang="en-US" sz="1600" kern="0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2714B4E-8CA2-4BFB-BCAA-5AEA052862C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263" y="344555"/>
            <a:ext cx="2247352" cy="22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36173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715619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018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924334" y="2098592"/>
            <a:ext cx="4640239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762737"/>
            <a:ext cx="1924334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564573" y="1762737"/>
            <a:ext cx="5627427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7048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715065" y="6625886"/>
            <a:ext cx="932400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518"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842" y="2446421"/>
            <a:ext cx="3690030" cy="283945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email">
            <a:clrChange>
              <a:clrFrom>
                <a:srgbClr val="E1EEF4"/>
              </a:clrFrom>
              <a:clrTo>
                <a:srgbClr val="E1EE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1033" y="617622"/>
            <a:ext cx="2799347" cy="215407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727" y="561474"/>
            <a:ext cx="3320715" cy="2555268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20" name="Group 19"/>
          <p:cNvGrpSpPr/>
          <p:nvPr/>
        </p:nvGrpSpPr>
        <p:grpSpPr>
          <a:xfrm>
            <a:off x="11186160" y="2853795"/>
            <a:ext cx="1005840" cy="1005840"/>
            <a:chOff x="10437085" y="2994163"/>
            <a:chExt cx="1005840" cy="1005840"/>
          </a:xfrm>
        </p:grpSpPr>
        <p:sp>
          <p:nvSpPr>
            <p:cNvPr id="21" name="Oval 20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966960" y="2853795"/>
            <a:ext cx="1005840" cy="1005840"/>
            <a:chOff x="10437085" y="2994163"/>
            <a:chExt cx="1005840" cy="1005840"/>
          </a:xfrm>
        </p:grpSpPr>
        <p:sp>
          <p:nvSpPr>
            <p:cNvPr id="24" name="Oval 23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643486" y="2853795"/>
            <a:ext cx="1005840" cy="1005840"/>
            <a:chOff x="10437085" y="2994163"/>
            <a:chExt cx="1005840" cy="1005840"/>
          </a:xfrm>
        </p:grpSpPr>
        <p:sp>
          <p:nvSpPr>
            <p:cNvPr id="27" name="Oval 26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72114626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:a16="http://schemas.microsoft.com/office/drawing/2014/main" xmlns="" id="{02699B51-FA02-4FDF-AE74-A1E10D8E54F8}"/>
              </a:ext>
            </a:extLst>
          </p:cNvPr>
          <p:cNvSpPr/>
          <p:nvPr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>
              <a:defRPr/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</a:rPr>
              <a:t>Copyright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© </a:t>
            </a:r>
            <a:r>
              <a:rPr lang="en-US" sz="1200" dirty="0" smtClean="0">
                <a:solidFill>
                  <a:prstClr val="white"/>
                </a:solidFill>
                <a:cs typeface="Arial" panose="020B0604020202020204" pitchFamily="34" charset="0"/>
              </a:rPr>
              <a:t>2023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Changepond. All rights reserved.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/>
          <p:cNvPicPr>
            <a:picLocks noChangeAspect="1" noChangeArrowheads="1"/>
          </p:cNvPicPr>
          <p:nvPr/>
        </p:nvPicPr>
        <p:blipFill>
          <a:blip r:embed="rId14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/>
          <p:cNvPicPr>
            <a:picLocks noChangeAspect="1" noChangeArrowheads="1"/>
          </p:cNvPicPr>
          <p:nvPr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/>
          <p:cNvPicPr>
            <a:picLocks noChangeAspect="1" noChangeArrowheads="1"/>
          </p:cNvPicPr>
          <p:nvPr/>
        </p:nvPicPr>
        <p:blipFill>
          <a:blip r:embed="rId16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/>
          <p:cNvPicPr>
            <a:picLocks noChangeAspect="1" noChangeArrowheads="1"/>
          </p:cNvPicPr>
          <p:nvPr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solidFill>
                  <a:srgbClr val="002060"/>
                </a:solidFill>
              </a:rPr>
              <a:t>Experience Trust &amp; Lasting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61811" y="2422359"/>
            <a:ext cx="347832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0" b="1" i="1" dirty="0" smtClean="0">
                <a:solidFill>
                  <a:srgbClr val="002060"/>
                </a:solidFill>
              </a:rPr>
              <a:t>Thank You</a:t>
            </a:r>
            <a:endParaRPr lang="en-IN" sz="6000" b="1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30472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489" y="0"/>
            <a:ext cx="1159177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488" y="1544271"/>
            <a:ext cx="11591779" cy="4786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391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742" r:id="rId3"/>
    <p:sldLayoutId id="2147483741" r:id="rId4"/>
    <p:sldLayoutId id="2147483665" r:id="rId5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05794" y="4711065"/>
            <a:ext cx="5648446" cy="1150474"/>
          </a:xfrm>
        </p:spPr>
        <p:txBody>
          <a:bodyPr/>
          <a:lstStyle/>
          <a:p>
            <a:pPr algn="ctr"/>
            <a:r>
              <a:rPr lang="en-IN" dirty="0" smtClean="0"/>
              <a:t>JMeter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07209" y="5978770"/>
            <a:ext cx="3957406" cy="281353"/>
          </a:xfrm>
        </p:spPr>
        <p:txBody>
          <a:bodyPr/>
          <a:lstStyle/>
          <a:p>
            <a:r>
              <a:rPr lang="en-IN" dirty="0" smtClean="0"/>
              <a:t>Mar-1-2024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1142291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2977153"/>
          </a:xfrm>
        </p:spPr>
        <p:txBody>
          <a:bodyPr/>
          <a:lstStyle/>
          <a:p>
            <a:r>
              <a:rPr lang="en-IN" dirty="0" smtClean="0"/>
              <a:t>Thread Group</a:t>
            </a:r>
            <a:endParaRPr lang="en-IN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54743" y="3364523"/>
            <a:ext cx="11882511" cy="30011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dirty="0" smtClean="0"/>
              <a:t>Samplers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954" y="715107"/>
            <a:ext cx="5545015" cy="247407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954" y="4009292"/>
            <a:ext cx="5545015" cy="235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95223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833" y="3423138"/>
            <a:ext cx="11671496" cy="3094893"/>
          </a:xfrm>
        </p:spPr>
        <p:txBody>
          <a:bodyPr>
            <a:normAutofit/>
          </a:bodyPr>
          <a:lstStyle/>
          <a:p>
            <a:r>
              <a:rPr lang="en-IN" dirty="0" smtClean="0"/>
              <a:t>Configuration</a:t>
            </a:r>
            <a:endParaRPr lang="en-IN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311833" y="258416"/>
            <a:ext cx="11882511" cy="3048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dirty="0" smtClean="0"/>
              <a:t>Listeners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447" y="867507"/>
            <a:ext cx="5416062" cy="243890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448" y="4044462"/>
            <a:ext cx="5416062" cy="247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53037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Example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433" y="1361068"/>
            <a:ext cx="6288259" cy="364468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1361068"/>
            <a:ext cx="5488744" cy="3644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73216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sult in table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9099" y="1289537"/>
            <a:ext cx="8973802" cy="51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56411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Conclusion</a:t>
            </a:r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159433" y="1184031"/>
            <a:ext cx="11882511" cy="5447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Apache JMeter is a powerful and versatile open-source tool for performance testing</a:t>
            </a:r>
            <a:r>
              <a:rPr lang="en-US" sz="20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t allows users to create detailed test plans, simulate various loads, and analyze performance metrics through graphical representations</a:t>
            </a:r>
            <a:r>
              <a:rPr lang="en-US" sz="20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JMeter is easy to use, extensible, and widely adopted in the industry, making it an excellent choice for ensuring the quality and scalability of software applications.</a:t>
            </a:r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 smtClean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latin typeface="Söhne"/>
              </a:rPr>
              <a:t/>
            </a:r>
            <a:br>
              <a:rPr lang="en-US" dirty="0">
                <a:solidFill>
                  <a:srgbClr val="000000"/>
                </a:solidFill>
                <a:latin typeface="Söhne"/>
              </a:rPr>
            </a:br>
            <a:endParaRPr lang="en-US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80705959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223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genda</a:t>
            </a:r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159433" y="1512277"/>
            <a:ext cx="1179810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 smtClean="0"/>
              <a:t>Introduction</a:t>
            </a:r>
            <a:endParaRPr lang="en-US" sz="20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What is JMete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Why do we need JMete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What is Performance Testing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Advantages of JMete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Elements of JMete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JMeter for Load Testing and </a:t>
            </a:r>
            <a:r>
              <a:rPr lang="en-US" sz="2000" dirty="0" smtClean="0"/>
              <a:t>Performance Testing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 smtClean="0"/>
              <a:t>Conclusion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369059264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117232"/>
            <a:ext cx="11882511" cy="6295292"/>
          </a:xfrm>
        </p:spPr>
        <p:txBody>
          <a:bodyPr/>
          <a:lstStyle/>
          <a:p>
            <a:r>
              <a:rPr lang="en-IN" dirty="0" smtClean="0"/>
              <a:t>Introduction </a:t>
            </a:r>
            <a:br>
              <a:rPr lang="en-IN" dirty="0" smtClean="0"/>
            </a:br>
            <a:r>
              <a:rPr lang="en-IN" dirty="0" smtClean="0"/>
              <a:t>	</a:t>
            </a:r>
            <a:endParaRPr lang="en-IN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9385" y="1699845"/>
            <a:ext cx="5638800" cy="362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87713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>
                <a:solidFill>
                  <a:schemeClr val="accent3">
                    <a:lumMod val="75000"/>
                  </a:schemeClr>
                </a:solidFill>
              </a:rPr>
              <a:t>JMeter</a:t>
            </a:r>
            <a:br>
              <a:rPr lang="en-IN" dirty="0">
                <a:solidFill>
                  <a:schemeClr val="accent3">
                    <a:lumMod val="75000"/>
                  </a:schemeClr>
                </a:solidFill>
              </a:rPr>
            </a:b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9322" y="1301261"/>
            <a:ext cx="4853355" cy="301283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04800" y="4612921"/>
            <a:ext cx="1142999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JMeter also known as 'Apache JMeter' is an open source, 100% java based application with a graphical interface</a:t>
            </a:r>
            <a:r>
              <a:rPr lang="en-US" sz="20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t is designed to analyse and measure the performance and load functional behaviour of web application and variety of services.</a:t>
            </a:r>
            <a:endParaRPr lang="en-IN" sz="2000" dirty="0"/>
          </a:p>
          <a:p>
            <a:r>
              <a:rPr lang="en-US" sz="2000" dirty="0"/>
              <a:t/>
            </a:r>
            <a:br>
              <a:rPr lang="en-US" sz="2000" dirty="0"/>
            </a:b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492059840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Why JMeter?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2011" y="1302368"/>
            <a:ext cx="6377354" cy="305861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59433" y="4888523"/>
            <a:ext cx="117043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f we do not prioritize performance, it will adversely affect the user experience, especially considering the vast number of users for web and mobile applications</a:t>
            </a:r>
            <a:r>
              <a:rPr lang="en-US" sz="2000" dirty="0" smtClean="0"/>
              <a:t>.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While </a:t>
            </a:r>
            <a:r>
              <a:rPr lang="en-US" sz="2000" dirty="0"/>
              <a:t>it's not always possible to anticipate every scenario, tools like Apache JMeter help us simulate and overcome potential load issues.</a:t>
            </a: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3715884515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Performance Testing</a:t>
            </a:r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159433" y="3420823"/>
            <a:ext cx="1182155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It </a:t>
            </a:r>
            <a:r>
              <a:rPr lang="en-US" sz="2000" dirty="0"/>
              <a:t>is very important to verify whether the product meets expected performance</a:t>
            </a:r>
            <a:r>
              <a:rPr lang="en-US" sz="2000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erformance testing ensures that software applications will perform well under their expected workload, focusing on certain factors such as speed, scalability, and stability. </a:t>
            </a:r>
            <a:endParaRPr lang="en-US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It involves checking whether the application under test satisfies required benchmarks for both load and stress testing</a:t>
            </a:r>
            <a:r>
              <a:rPr lang="en-US" sz="2000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Load testing assesses whether the system or application under test can handle the required number of concurrent user accesses on the web server without failure. </a:t>
            </a:r>
            <a:endParaRPr lang="en-US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tress testing evaluates how the web server copes with high loads and limited resources under constrained conditions.</a:t>
            </a:r>
            <a:endParaRPr lang="en-IN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2025" y="821635"/>
            <a:ext cx="4048690" cy="235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49341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dvantages of JMeter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149" y="1043355"/>
            <a:ext cx="6389077" cy="5462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65444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pache JMeter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425" y="970195"/>
            <a:ext cx="10058400" cy="554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49344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est Plan</a:t>
            </a:r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159433" y="926123"/>
            <a:ext cx="1166915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t is a container that describes what and how to </a:t>
            </a:r>
            <a:r>
              <a:rPr lang="en-US" sz="2000" dirty="0" smtClean="0"/>
              <a:t>te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he complete test plan consists of one or more elements</a:t>
            </a:r>
            <a:r>
              <a:rPr lang="en-US" sz="20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Once we configure the elements, we save them and then run the test plan, analyzing the results in various graphical formats such as tree, table, and graph</a:t>
            </a:r>
            <a:r>
              <a:rPr lang="en-US" sz="20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t is quite difficult for humans to perform performance testing manually. </a:t>
            </a:r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JMeter is the best tool for ensuring quality deliveries on time.</a:t>
            </a:r>
            <a:endParaRPr lang="en-IN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159433" y="3305908"/>
            <a:ext cx="1166915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 dirty="0" smtClean="0">
                <a:solidFill>
                  <a:srgbClr val="002060"/>
                </a:solidFill>
              </a:rPr>
              <a:t>Elements of JMeter</a:t>
            </a:r>
            <a:endParaRPr lang="en-IN" sz="4000" b="1" dirty="0">
              <a:solidFill>
                <a:srgbClr val="002060"/>
              </a:solidFill>
            </a:endParaRPr>
          </a:p>
          <a:p>
            <a:pPr marL="571500" indent="-5715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Thread Group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000" dirty="0" smtClean="0"/>
              <a:t>Samplers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Listeners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Configuration</a:t>
            </a:r>
            <a:endParaRPr lang="en-US" sz="20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IN" sz="40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6496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hangepond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7BEB8"/>
      </a:accent1>
      <a:accent2>
        <a:srgbClr val="DC2543"/>
      </a:accent2>
      <a:accent3>
        <a:srgbClr val="284651"/>
      </a:accent3>
      <a:accent4>
        <a:srgbClr val="EFB730"/>
      </a:accent4>
      <a:accent5>
        <a:srgbClr val="4472C4"/>
      </a:accent5>
      <a:accent6>
        <a:srgbClr val="87C488"/>
      </a:accent6>
      <a:hlink>
        <a:srgbClr val="00386C"/>
      </a:hlink>
      <a:folHlink>
        <a:srgbClr val="E5A46E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C0DD746-69AB-44FE-A623-E5481FCD5FAF}" vid="{06C4BFF9-4046-44A4-BCC8-D84B3DB2D2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647</TotalTime>
  <Words>401</Words>
  <Application>Microsoft Office PowerPoint</Application>
  <PresentationFormat>Widescreen</PresentationFormat>
  <Paragraphs>5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Söhne</vt:lpstr>
      <vt:lpstr>Wingdings</vt:lpstr>
      <vt:lpstr>Default Theme</vt:lpstr>
      <vt:lpstr>think-cell Slide</vt:lpstr>
      <vt:lpstr>JMeter</vt:lpstr>
      <vt:lpstr>Agenda</vt:lpstr>
      <vt:lpstr>Introduction   </vt:lpstr>
      <vt:lpstr>JMeter </vt:lpstr>
      <vt:lpstr>Why JMeter?</vt:lpstr>
      <vt:lpstr>Performance Testing</vt:lpstr>
      <vt:lpstr>Advantages of JMeter</vt:lpstr>
      <vt:lpstr>Apache JMeter</vt:lpstr>
      <vt:lpstr>Test Plan</vt:lpstr>
      <vt:lpstr>Thread Group</vt:lpstr>
      <vt:lpstr>Configuration</vt:lpstr>
      <vt:lpstr>Example</vt:lpstr>
      <vt:lpstr>Result in table</vt:lpstr>
      <vt:lpstr>Conclusion</vt:lpstr>
      <vt:lpstr>PowerPoint Presentation</vt:lpstr>
    </vt:vector>
  </TitlesOfParts>
  <Company>HP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Pradeep E</cp:lastModifiedBy>
  <cp:revision>167</cp:revision>
  <dcterms:created xsi:type="dcterms:W3CDTF">2023-01-03T09:22:10Z</dcterms:created>
  <dcterms:modified xsi:type="dcterms:W3CDTF">2024-02-29T14:07:21Z</dcterms:modified>
</cp:coreProperties>
</file>